
<file path=[Content_Types].xml><?xml version="1.0" encoding="utf-8"?>
<Types xmlns="http://schemas.openxmlformats.org/package/2006/content-types"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57" r:id="rId2"/>
    <p:sldId id="258" r:id="rId3"/>
  </p:sldIdLst>
  <p:sldSz cx="9144000" cy="6858000" type="screen4x3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03" autoAdjust="0"/>
    <p:restoredTop sz="98579" autoAdjust="0"/>
  </p:normalViewPr>
  <p:slideViewPr>
    <p:cSldViewPr>
      <p:cViewPr varScale="1">
        <p:scale>
          <a:sx n="111" d="100"/>
          <a:sy n="111" d="100"/>
        </p:scale>
        <p:origin x="173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0FDA1-5A7A-42CC-85F8-9F8024F789BD}" type="datetimeFigureOut">
              <a:rPr lang="de-DE" smtClean="0"/>
              <a:t>07.12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55713" y="719138"/>
            <a:ext cx="4803775" cy="3602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68AEAB-8205-4529-80B2-DFED8D71E40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63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8163F03-B026-4065-AF35-B6C72EE12CAD}" type="slidenum">
              <a:rPr lang="en-GB"/>
              <a:pPr/>
              <a:t>1</a:t>
            </a:fld>
            <a:endParaRPr lang="en-GB"/>
          </a:p>
        </p:txBody>
      </p:sp>
      <p:sp>
        <p:nvSpPr>
          <p:cNvPr id="78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6975" y="357188"/>
            <a:ext cx="4672013" cy="3503612"/>
          </a:xfrm>
          <a:ln/>
        </p:spPr>
      </p:sp>
      <p:sp>
        <p:nvSpPr>
          <p:cNvPr id="787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50605" y="4074590"/>
            <a:ext cx="5365353" cy="38601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1536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Basically the turnover has not improved since 2009 (Apart from 2 significant</a:t>
            </a:r>
            <a:r>
              <a:rPr lang="da-DK" baseline="0" dirty="0" smtClean="0"/>
              <a:t> projects F1 and Commonwealth Games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w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E2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pic>
        <p:nvPicPr>
          <p:cNvPr id="265219" name="Picture 3" descr="Kopf_Startfolie dunkl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2394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20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090" y="684068"/>
            <a:ext cx="1163410" cy="948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335111" y="623455"/>
            <a:ext cx="5547632" cy="10564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333750" y="4739409"/>
            <a:ext cx="4969329" cy="1066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265223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99583" y="2148899"/>
            <a:ext cx="7045779" cy="2453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5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161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04983" y="207818"/>
            <a:ext cx="1698171" cy="581890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106386" y="207818"/>
            <a:ext cx="4967968" cy="5818909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916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043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540" y="4407478"/>
            <a:ext cx="7772400" cy="136092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540" y="2906568"/>
            <a:ext cx="7772400" cy="1500909"/>
          </a:xfrm>
        </p:spPr>
        <p:txBody>
          <a:bodyPr anchor="b"/>
          <a:lstStyle>
            <a:lvl1pPr marL="0" indent="0">
              <a:buNone/>
              <a:defRPr sz="1800"/>
            </a:lvl1pPr>
            <a:lvl2pPr marL="401696" indent="0">
              <a:buNone/>
              <a:defRPr sz="1600"/>
            </a:lvl2pPr>
            <a:lvl3pPr marL="803392" indent="0">
              <a:buNone/>
              <a:defRPr sz="1400"/>
            </a:lvl3pPr>
            <a:lvl4pPr marL="1205088" indent="0">
              <a:buNone/>
              <a:defRPr sz="1200"/>
            </a:lvl4pPr>
            <a:lvl5pPr marL="1606784" indent="0">
              <a:buNone/>
              <a:defRPr sz="1200"/>
            </a:lvl5pPr>
            <a:lvl6pPr marL="2008480" indent="0">
              <a:buNone/>
              <a:defRPr sz="1200"/>
            </a:lvl6pPr>
            <a:lvl7pPr marL="2410176" indent="0">
              <a:buNone/>
              <a:defRPr sz="1200"/>
            </a:lvl7pPr>
            <a:lvl8pPr marL="2811871" indent="0">
              <a:buNone/>
              <a:defRPr sz="1200"/>
            </a:lvl8pPr>
            <a:lvl9pPr marL="3213567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358515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106386" y="2120034"/>
            <a:ext cx="3009900" cy="390669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246914" y="2120034"/>
            <a:ext cx="3011261" cy="390669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121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205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546"/>
            <a:ext cx="4039961" cy="63933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1696" indent="0">
              <a:buNone/>
              <a:defRPr sz="1800" b="1"/>
            </a:lvl2pPr>
            <a:lvl3pPr marL="803392" indent="0">
              <a:buNone/>
              <a:defRPr sz="1600" b="1"/>
            </a:lvl3pPr>
            <a:lvl4pPr marL="1205088" indent="0">
              <a:buNone/>
              <a:defRPr sz="1400" b="1"/>
            </a:lvl4pPr>
            <a:lvl5pPr marL="1606784" indent="0">
              <a:buNone/>
              <a:defRPr sz="1400" b="1"/>
            </a:lvl5pPr>
            <a:lvl6pPr marL="2008480" indent="0">
              <a:buNone/>
              <a:defRPr sz="1400" b="1"/>
            </a:lvl6pPr>
            <a:lvl7pPr marL="2410176" indent="0">
              <a:buNone/>
              <a:defRPr sz="1400" b="1"/>
            </a:lvl7pPr>
            <a:lvl8pPr marL="2811871" indent="0">
              <a:buNone/>
              <a:defRPr sz="1400" b="1"/>
            </a:lvl8pPr>
            <a:lvl9pPr marL="3213567" indent="0">
              <a:buNone/>
              <a:defRPr sz="14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4039961" cy="3951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479" y="1535546"/>
            <a:ext cx="4041321" cy="63933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1696" indent="0">
              <a:buNone/>
              <a:defRPr sz="1800" b="1"/>
            </a:lvl2pPr>
            <a:lvl3pPr marL="803392" indent="0">
              <a:buNone/>
              <a:defRPr sz="1600" b="1"/>
            </a:lvl3pPr>
            <a:lvl4pPr marL="1205088" indent="0">
              <a:buNone/>
              <a:defRPr sz="1400" b="1"/>
            </a:lvl4pPr>
            <a:lvl5pPr marL="1606784" indent="0">
              <a:buNone/>
              <a:defRPr sz="1400" b="1"/>
            </a:lvl5pPr>
            <a:lvl6pPr marL="2008480" indent="0">
              <a:buNone/>
              <a:defRPr sz="1400" b="1"/>
            </a:lvl6pPr>
            <a:lvl7pPr marL="2410176" indent="0">
              <a:buNone/>
              <a:defRPr sz="1400" b="1"/>
            </a:lvl7pPr>
            <a:lvl8pPr marL="2811871" indent="0">
              <a:buNone/>
              <a:defRPr sz="1400" b="1"/>
            </a:lvl8pPr>
            <a:lvl9pPr marL="3213567" indent="0">
              <a:buNone/>
              <a:defRPr sz="14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479" y="2174876"/>
            <a:ext cx="4041321" cy="3951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717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7958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0428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2762"/>
            <a:ext cx="3008540" cy="1161761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4597" y="272762"/>
            <a:ext cx="5112203" cy="5853545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4523"/>
            <a:ext cx="3008540" cy="4691785"/>
          </a:xfrm>
        </p:spPr>
        <p:txBody>
          <a:bodyPr/>
          <a:lstStyle>
            <a:lvl1pPr marL="0" indent="0">
              <a:buNone/>
              <a:defRPr sz="1200"/>
            </a:lvl1pPr>
            <a:lvl2pPr marL="401696" indent="0">
              <a:buNone/>
              <a:defRPr sz="1100"/>
            </a:lvl2pPr>
            <a:lvl3pPr marL="803392" indent="0">
              <a:buNone/>
              <a:defRPr sz="900"/>
            </a:lvl3pPr>
            <a:lvl4pPr marL="1205088" indent="0">
              <a:buNone/>
              <a:defRPr sz="800"/>
            </a:lvl4pPr>
            <a:lvl5pPr marL="1606784" indent="0">
              <a:buNone/>
              <a:defRPr sz="800"/>
            </a:lvl5pPr>
            <a:lvl6pPr marL="2008480" indent="0">
              <a:buNone/>
              <a:defRPr sz="800"/>
            </a:lvl6pPr>
            <a:lvl7pPr marL="2410176" indent="0">
              <a:buNone/>
              <a:defRPr sz="800"/>
            </a:lvl7pPr>
            <a:lvl8pPr marL="2811871" indent="0">
              <a:buNone/>
              <a:defRPr sz="800"/>
            </a:lvl8pPr>
            <a:lvl9pPr marL="3213567" indent="0">
              <a:buNone/>
              <a:defRPr sz="8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0221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061" y="4800023"/>
            <a:ext cx="5486400" cy="567171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061" y="613353"/>
            <a:ext cx="5486400" cy="4114511"/>
          </a:xfrm>
        </p:spPr>
        <p:txBody>
          <a:bodyPr/>
          <a:lstStyle>
            <a:lvl1pPr marL="0" indent="0">
              <a:buNone/>
              <a:defRPr sz="2800"/>
            </a:lvl1pPr>
            <a:lvl2pPr marL="401696" indent="0">
              <a:buNone/>
              <a:defRPr sz="2500"/>
            </a:lvl2pPr>
            <a:lvl3pPr marL="803392" indent="0">
              <a:buNone/>
              <a:defRPr sz="2100"/>
            </a:lvl3pPr>
            <a:lvl4pPr marL="1205088" indent="0">
              <a:buNone/>
              <a:defRPr sz="1800"/>
            </a:lvl4pPr>
            <a:lvl5pPr marL="1606784" indent="0">
              <a:buNone/>
              <a:defRPr sz="1800"/>
            </a:lvl5pPr>
            <a:lvl6pPr marL="2008480" indent="0">
              <a:buNone/>
              <a:defRPr sz="1800"/>
            </a:lvl6pPr>
            <a:lvl7pPr marL="2410176" indent="0">
              <a:buNone/>
              <a:defRPr sz="1800"/>
            </a:lvl7pPr>
            <a:lvl8pPr marL="2811871" indent="0">
              <a:buNone/>
              <a:defRPr sz="1800"/>
            </a:lvl8pPr>
            <a:lvl9pPr marL="3213567" indent="0">
              <a:buNone/>
              <a:defRPr sz="18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061" y="5367194"/>
            <a:ext cx="5486400" cy="805295"/>
          </a:xfrm>
        </p:spPr>
        <p:txBody>
          <a:bodyPr/>
          <a:lstStyle>
            <a:lvl1pPr marL="0" indent="0">
              <a:buNone/>
              <a:defRPr sz="1200"/>
            </a:lvl1pPr>
            <a:lvl2pPr marL="401696" indent="0">
              <a:buNone/>
              <a:defRPr sz="1100"/>
            </a:lvl2pPr>
            <a:lvl3pPr marL="803392" indent="0">
              <a:buNone/>
              <a:defRPr sz="900"/>
            </a:lvl3pPr>
            <a:lvl4pPr marL="1205088" indent="0">
              <a:buNone/>
              <a:defRPr sz="800"/>
            </a:lvl4pPr>
            <a:lvl5pPr marL="1606784" indent="0">
              <a:buNone/>
              <a:defRPr sz="800"/>
            </a:lvl5pPr>
            <a:lvl6pPr marL="2008480" indent="0">
              <a:buNone/>
              <a:defRPr sz="800"/>
            </a:lvl6pPr>
            <a:lvl7pPr marL="2410176" indent="0">
              <a:buNone/>
              <a:defRPr sz="800"/>
            </a:lvl7pPr>
            <a:lvl8pPr marL="2811871" indent="0">
              <a:buNone/>
              <a:defRPr sz="800"/>
            </a:lvl8pPr>
            <a:lvl9pPr marL="3213567" indent="0">
              <a:buNone/>
              <a:defRPr sz="8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5545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21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151790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Erste Ebene</a:t>
            </a:r>
          </a:p>
          <a:p>
            <a:pPr lvl="2"/>
            <a:r>
              <a:rPr lang="de-DE" smtClean="0"/>
              <a:t>Zweite Ebene</a:t>
            </a:r>
          </a:p>
          <a:p>
            <a:pPr lvl="3"/>
            <a:r>
              <a:rPr lang="de-DE" smtClean="0"/>
              <a:t>Dritte Ebene</a:t>
            </a:r>
          </a:p>
          <a:p>
            <a:pPr lvl="4"/>
            <a:r>
              <a:rPr lang="de-DE" smtClean="0"/>
              <a:t>Vierte Ebene</a:t>
            </a:r>
          </a:p>
        </p:txBody>
      </p:sp>
      <p:pic>
        <p:nvPicPr>
          <p:cNvPr id="264194" name="Picture 2" descr="Neuer Kopf dunkelgrau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63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195" name="Picture 3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097" y="297296"/>
            <a:ext cx="616403" cy="50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4196" name="Rectangle 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99583" y="916421"/>
            <a:ext cx="7045779" cy="2453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264197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26419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320143" y="207818"/>
            <a:ext cx="5583011" cy="640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51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157610" indent="-15621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2pPr>
      <a:lvl3pPr marL="471435" indent="-15621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300">
          <a:solidFill>
            <a:schemeClr val="tx1"/>
          </a:solidFill>
          <a:latin typeface="+mn-lt"/>
        </a:defRPr>
      </a:lvl3pPr>
      <a:lvl4pPr marL="788050" indent="-15900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Char char="-"/>
        <a:defRPr sz="1300">
          <a:solidFill>
            <a:schemeClr val="tx1"/>
          </a:solidFill>
          <a:latin typeface="+mn-lt"/>
        </a:defRPr>
      </a:lvl4pPr>
      <a:lvl5pPr marL="1103269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5pPr>
      <a:lvl6pPr marL="1504965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1906661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08357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10053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434" name="Rectangle 2"/>
          <p:cNvSpPr>
            <a:spLocks noChangeArrowheads="1"/>
          </p:cNvSpPr>
          <p:nvPr/>
        </p:nvSpPr>
        <p:spPr bwMode="auto">
          <a:xfrm>
            <a:off x="0" y="2362489"/>
            <a:ext cx="9144000" cy="1407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27" tIns="40163" rIns="80327" bIns="4016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7864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627784" y="572391"/>
            <a:ext cx="5547632" cy="1056409"/>
          </a:xfrm>
        </p:spPr>
        <p:txBody>
          <a:bodyPr/>
          <a:lstStyle/>
          <a:p>
            <a:r>
              <a:rPr lang="en-US" sz="2800" b="0" dirty="0" err="1" smtClean="0"/>
              <a:t>Xxxxx</a:t>
            </a:r>
            <a:endParaRPr lang="de-DE" sz="2800" b="0" dirty="0"/>
          </a:p>
        </p:txBody>
      </p:sp>
      <p:pic>
        <p:nvPicPr>
          <p:cNvPr id="786437" name="Picture 5" descr="showerdrain_Tite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659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38" name="Picture 6" descr="Academy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34" y="2362489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39" name="Picture 7" descr="Formel 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411" y="2359603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0" name="Picture 8" descr="Multilin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166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1" name="Picture 9" descr="Olympistadiu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2" name="Picture 10" descr="Regenschirm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904" y="2362489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N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929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 txBox="1">
            <a:spLocks noChangeArrowheads="1"/>
          </p:cNvSpPr>
          <p:nvPr/>
        </p:nvSpPr>
        <p:spPr bwMode="auto">
          <a:xfrm>
            <a:off x="2385782" y="808810"/>
            <a:ext cx="6987055" cy="333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00000"/>
              </a:lnSpc>
              <a:spcAft>
                <a:spcPct val="0"/>
              </a:spcAft>
              <a:defRPr/>
            </a:pPr>
            <a:endParaRPr lang="en-IN" sz="2400" b="1" dirty="0" smtClean="0">
              <a:solidFill>
                <a:srgbClr val="191919"/>
              </a:solidFill>
              <a:latin typeface="Arial Black" panose="020B0A04020102020204" pitchFamily="34" charset="0"/>
            </a:endParaRPr>
          </a:p>
          <a:p>
            <a:pPr fontAlgn="base">
              <a:lnSpc>
                <a:spcPct val="100000"/>
              </a:lnSpc>
              <a:spcAft>
                <a:spcPct val="0"/>
              </a:spcAft>
              <a:defRPr/>
            </a:pPr>
            <a:endParaRPr lang="en-IN" sz="2400" dirty="0">
              <a:solidFill>
                <a:srgbClr val="191919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909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itle01"/>
</p:tagLst>
</file>

<file path=ppt/theme/theme1.xml><?xml version="1.0" encoding="utf-8"?>
<a:theme xmlns:a="http://schemas.openxmlformats.org/drawingml/2006/main" name="2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</TotalTime>
  <Words>22</Words>
  <Application>Microsoft Office PowerPoint</Application>
  <PresentationFormat>On-screen Show (4:3)</PresentationFormat>
  <Paragraphs>4</Paragraphs>
  <Slides>2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 Black</vt:lpstr>
      <vt:lpstr>Calibri</vt:lpstr>
      <vt:lpstr>Verdana</vt:lpstr>
      <vt:lpstr>Wingdings</vt:lpstr>
      <vt:lpstr>2_Benutzerdefiniertes Design</vt:lpstr>
      <vt:lpstr>Xxxxx</vt:lpstr>
      <vt:lpstr>PowerPoint Presentation</vt:lpstr>
    </vt:vector>
  </TitlesOfParts>
  <Company>ACO Severin Ahlmann GmbH &amp; Co K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l Budget Meeting 2012</dc:title>
  <dc:creator>Schafft, Gerriet</dc:creator>
  <cp:lastModifiedBy>admin</cp:lastModifiedBy>
  <cp:revision>73</cp:revision>
  <cp:lastPrinted>2012-10-15T03:02:38Z</cp:lastPrinted>
  <dcterms:created xsi:type="dcterms:W3CDTF">2012-06-12T06:55:41Z</dcterms:created>
  <dcterms:modified xsi:type="dcterms:W3CDTF">2015-12-07T07:17:13Z</dcterms:modified>
</cp:coreProperties>
</file>